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4"/>
  </p:notesMasterIdLst>
  <p:sldIdLst>
    <p:sldId id="258" r:id="rId5"/>
    <p:sldId id="259" r:id="rId6"/>
    <p:sldId id="262" r:id="rId7"/>
    <p:sldId id="342" r:id="rId8"/>
    <p:sldId id="331" r:id="rId9"/>
    <p:sldId id="332" r:id="rId10"/>
    <p:sldId id="330" r:id="rId11"/>
    <p:sldId id="333" r:id="rId12"/>
    <p:sldId id="334" r:id="rId13"/>
    <p:sldId id="335" r:id="rId14"/>
    <p:sldId id="337" r:id="rId15"/>
    <p:sldId id="338" r:id="rId16"/>
    <p:sldId id="339" r:id="rId17"/>
    <p:sldId id="327" r:id="rId18"/>
    <p:sldId id="340" r:id="rId19"/>
    <p:sldId id="341" r:id="rId20"/>
    <p:sldId id="328" r:id="rId21"/>
    <p:sldId id="321" r:id="rId22"/>
    <p:sldId id="260" r:id="rId23"/>
  </p:sldIdLst>
  <p:sldSz cx="12192000" cy="6858000"/>
  <p:notesSz cx="6858000" cy="9144000"/>
  <p:custDataLst>
    <p:custData r:id="rId2"/>
    <p:custData r:id="rId1"/>
    <p:custData r:id="rId3"/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94" autoAdjust="0"/>
    <p:restoredTop sz="77341" autoAdjust="0"/>
  </p:normalViewPr>
  <p:slideViewPr>
    <p:cSldViewPr snapToGrid="0" showGuides="1">
      <p:cViewPr varScale="1">
        <p:scale>
          <a:sx n="163" d="100"/>
          <a:sy n="163" d="100"/>
        </p:scale>
        <p:origin x="364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F1D1C-90D0-4F00-9BA3-077A17EF5B50}" type="datetimeFigureOut">
              <a:rPr lang="en-US"/>
              <a:t>4/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BCB16-00DD-4F07-8367-2CC6834612C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200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8594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/>
              <a:t>Pull feature to </a:t>
            </a:r>
            <a:r>
              <a:rPr lang="en-DE" dirty="0"/>
              <a:t>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1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Mention the Project / Repo approach.</a:t>
            </a:r>
          </a:p>
          <a:p>
            <a:r>
              <a:rPr lang="en-DE"/>
              <a:t>That is each project will have its own reposirory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17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3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25D9599-D85C-4923-8E2F-F58377E52555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ED6B2D-8D4C-4F72-B420-0F0444CCD4F7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1" name="Date Placeholder 8">
              <a:extLst>
                <a:ext uri="{FF2B5EF4-FFF2-40B4-BE49-F238E27FC236}">
                  <a16:creationId xmlns:a16="http://schemas.microsoft.com/office/drawing/2014/main" id="{ADB98197-3672-4367-A773-C09C7BCC63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EC8A25-6A9A-42F5-B840-4B6BDECE19A1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19704DC-2999-46BC-BFA3-F7F837D4EA6D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DF47084-4805-4BE3-B2A6-C788C9C3608D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29340AB-D70C-4955-9553-87C131E6A49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DA55C9F2-69BD-42EA-B936-BA9205A6B9E6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3381DAD-E257-4C59-930B-161FCFF5574E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F181E01-7375-4BD9-93C5-1EC3322C0EE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B203442-B466-4259-8ED9-9E88D4549593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D9086DB-B137-4F10-872A-0B43BC3534B8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12A49C27-61F6-4404-AD2B-075142645330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B2CE54B-0813-4850-9B17-8A4C6FC5D6A6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2779E56-031D-4707-88D0-9E956181793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BFF7729-7133-4970-A896-8D9C036CC2F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8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D9214C-C739-4412-9AA2-D3541ABCCB1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40C0C78-E87D-4D95-8211-EE3FC34688DB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1B785B-C9C3-4D45-8421-9748E72356D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4FC97-E9E5-4D00-938D-0C949C4DD0D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8672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2554">
          <p15:clr>
            <a:srgbClr val="547EBF"/>
          </p15:clr>
        </p15:guide>
        <p15:guide id="8" pos="2677">
          <p15:clr>
            <a:srgbClr val="547EBF"/>
          </p15:clr>
        </p15:guide>
        <p15:guide id="9" pos="5003">
          <p15:clr>
            <a:srgbClr val="547EBF"/>
          </p15:clr>
        </p15:guide>
        <p15:guide id="10" pos="5126">
          <p15:clr>
            <a:srgbClr val="547EBF"/>
          </p15:clr>
        </p15:guide>
        <p15:guide id="11" orient="horz" pos="3874">
          <p15:clr>
            <a:srgbClr val="547EBF"/>
          </p15:clr>
        </p15:guide>
        <p15:guide id="12" orient="horz" pos="3997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2801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FC98E6-9128-4736-983A-6AA763A385E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F290DBE1-C98B-4105-8491-F2EF814FC883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D8B0D-F44E-412A-B581-21795CC1A4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C68C4-31B7-4B22-BE58-67697FDF33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026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1942">
          <p15:clr>
            <a:srgbClr val="547EBF"/>
          </p15:clr>
        </p15:guide>
        <p15:guide id="8" pos="2064">
          <p15:clr>
            <a:srgbClr val="547EBF"/>
          </p15:clr>
        </p15:guide>
        <p15:guide id="9" pos="3779">
          <p15:clr>
            <a:srgbClr val="547EBF"/>
          </p15:clr>
        </p15:guide>
        <p15:guide id="10" pos="3901">
          <p15:clr>
            <a:srgbClr val="547EBF"/>
          </p15:clr>
        </p15:guide>
        <p15:guide id="11" pos="5616">
          <p15:clr>
            <a:srgbClr val="547EBF"/>
          </p15:clr>
        </p15:guide>
        <p15:guide id="12" pos="5738">
          <p15:clr>
            <a:srgbClr val="547EBF"/>
          </p15:clr>
        </p15:guide>
        <p15:guide id="13" orient="horz" pos="3874">
          <p15:clr>
            <a:srgbClr val="547EBF"/>
          </p15:clr>
        </p15:guide>
        <p15:guide id="14" orient="horz" pos="3997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BCA23D-685A-4A56-BF02-D1B28433F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6391C-1320-479A-9472-FB9B4A527EFB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7DB658-9AE4-4F44-9DEB-5E897E7A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CA47B40-711D-4456-8202-123DEAC0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53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39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74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orient="horz" pos="874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DFAF897-DF65-4A39-AD79-9594B3D4E98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89619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3D21FF-3078-44A2-B5F7-185C32E8F0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E6C1BDBC-00EC-48F6-8931-2E4FE6722D93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6AB8FD-BEC4-4E50-B465-DB4BE4A7A34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784D1F-D548-4A0D-924A-AD5C0148F2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AEE5834D-03D7-444C-BCE1-1C130080741D}"/>
              </a:ext>
            </a:extLst>
          </p:cNvPr>
          <p:cNvSpPr txBox="1">
            <a:spLocks/>
          </p:cNvSpPr>
          <p:nvPr/>
        </p:nvSpPr>
        <p:spPr>
          <a:xfrm>
            <a:off x="10178400" y="6351918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E71BAFC0-28F1-4220-8D1D-4288FC9DD783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5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5C34C80-C2F9-4545-B7CF-646DB17E4A8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D28A3-0057-45C9-933E-F1F8E9007C18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98C7EE83-58B4-4A4A-BE05-BDCA171C9C0C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3835C8-45A5-45C9-9339-AFD289290DD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1A0EC3-26A6-4C28-9EF5-65C8EDF8F42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285E683E-36BE-4472-867E-6657168BE1CA}"/>
              </a:ext>
            </a:extLst>
          </p:cNvPr>
          <p:cNvSpPr txBox="1">
            <a:spLocks/>
          </p:cNvSpPr>
          <p:nvPr/>
        </p:nvSpPr>
        <p:spPr>
          <a:xfrm>
            <a:off x="12142496" y="6817352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3AEA97AA-692E-4683-9EC6-282863D695B9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8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>
          <p15:clr>
            <a:srgbClr val="FFFF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&#10;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3DB05D-4AD4-4A0F-80D0-C27F0929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83D92-EAD9-4928-8F5E-43D6C0BBDA8E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A95A03A-C550-4EF8-9C11-CE4F0F3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45302F4-8D2D-4B2F-BFD7-4EA091DB1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9924C9-3E7F-4E60-ABD9-9DA79E2B571A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8" name="Date Placeholder 8">
              <a:extLst>
                <a:ext uri="{FF2B5EF4-FFF2-40B4-BE49-F238E27FC236}">
                  <a16:creationId xmlns:a16="http://schemas.microsoft.com/office/drawing/2014/main" id="{A56AC832-D5E5-459E-A74C-763D9FD9F0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BBBC5A2-7844-4EC7-99F1-2A1B0C9A806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9AA3258-0E88-4920-BB74-0EE684AF0A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121489E-DD05-4C53-9DC8-63B7606978BC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35D4D64-AA07-44C1-9C43-8A207E6FC19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C02E610-5C72-476D-AD18-136D54CCD9B8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478774F-E58D-40F5-81EC-25795E730B2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12B51C-1DC3-4040-82E8-EBB00CD95F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FF5AE7E4-8684-4724-87D2-6462421C89F4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B7D16D6-9CD5-4981-8118-07295C1C528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44564D0-8836-4E85-85B9-25B4A3B66E23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82D2409-E894-4290-A014-CF59547B8467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B49E7F3-0E47-48B4-B2D1-B0BF6377336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9764B68-44C1-4DF6-9563-74C0B661EE42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292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A4083-9B63-4A62-B4A9-566CC31C9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DE2C4-9CF4-46FD-B81B-4D4E9CCBA513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21152F-7EAA-4403-92F8-059FCF067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AE91456-4515-4CBA-A20A-40E0D481B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8C83726-3D6D-4C46-A7DE-47DEBAF055B7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7" name="Date Placeholder 8">
              <a:extLst>
                <a:ext uri="{FF2B5EF4-FFF2-40B4-BE49-F238E27FC236}">
                  <a16:creationId xmlns:a16="http://schemas.microsoft.com/office/drawing/2014/main" id="{C94137F1-9E8E-4674-86B9-DD72527991A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8BA2E3-44FE-459D-99D0-1D9F6BF386A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271F76-CAA8-4911-BB11-761F98A7654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CBCCE5F-0059-47AB-86EA-41A4FA8D8A2A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18C457D-B27E-4929-8E41-6BC6E5D7BB4D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14DC750-E62B-45D7-A17D-7362AA907BB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2EC85C-E678-414A-A40C-64AEA685E8D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5770E9F-D01F-4072-A621-B4FAD68A93FD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A5D98C-7D3A-47FA-903D-5DB5C11DA30C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C93D8682-FC2E-4CFB-8D58-3760F3D2E23D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1EDDAF0-95CE-483D-B234-7073B299C56E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696631F-48C0-462A-989F-2B3F594C5B39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4CE9B2C-AF59-4DEA-911A-0B298DCA099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11FCC55-03D0-4EF6-9077-0CF3E058B9CC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623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8C2BE-BFFD-44FE-B91C-2F7619E5C9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711ED06-6A7D-428C-86A1-A339A15F229A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6371E-9D17-4833-9D7C-91918309D1E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8C924-92B2-4D7E-98BF-44DF9DEF746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9464F3-59F2-4CAE-8832-5EE315CC0D24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A940C691-2570-4172-B700-44E3B95B6D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15C565-0794-4F11-B3E4-11D900876D6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63619E5-904B-4602-A812-EC1CB274C2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2CC646E-4A17-48E2-802C-76EC95C18DC2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19DB632-6E80-4AF6-B454-8B2A5370EFE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B737D10-FD12-4C0D-AB5B-7DB95F750F1B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FB01C06-8027-4FFE-89B7-7FCF10E5E4A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C12CBCC-61FB-4A50-AF22-5D80EF279D4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A99098-AE1D-4454-AA0A-EA7A867BA75E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062E073-A445-4E01-8F19-B156F8EBB10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675FE43-A9A2-4C84-91DB-3B0175858DAD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56904C-4966-4553-A01B-5D1BF776C05F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35B70E4-0D33-4030-B118-4FBE57767387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85E4C8D-B307-4203-9444-740633D248B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5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1_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07EF12F7-A234-41F1-8B3A-E1003F7DC42A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158ED9-7A79-4424-9274-92598FC16B7B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96F0F6FA-373E-4A47-81AC-194DCE35A5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172D8A0-9BC6-4D20-9398-223E179DD8E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D29E535-B8C3-447F-B091-C6E787D18142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732A30A-1E92-471E-A296-49BC85338296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6B08A38-9D68-4C96-BF03-FCF5F482E63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C7E29541-6B18-4DB6-9638-26B523EE766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98BE8DB7-79EE-4915-9A84-E74213DC9C5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3A38DA8-635E-40D2-A974-87859E318B00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0C3739D-29E2-446B-8282-40228EB6E145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23B3D26-779A-46EF-A03D-91182B40D709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5175015-355A-4231-A3FE-A1548BA4E655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8CE6C3-EBF3-41F2-B045-E9C1A225F1FC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5F1CDC7-73D7-4135-A63C-31D52AACA192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9153E24-462A-4AFB-B893-27AEC39B948E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482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CA24CA-7FC1-4CC3-8F5E-996AF8BA148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76240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06A83-C8C4-486F-8CA6-BFEAE6D5B9C4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6879BB2-E118-44AA-8E66-B84B11065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3608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332F08-FDC8-40F5-AC87-D1CEC5436A5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865C7AF-B185-407B-846D-247269D1D62B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8F7F6-54CE-4A1B-99AC-A934BA75F98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71506-A838-42BE-8EC6-E5DA4E396B6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51502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1364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BC6C70-F101-40CA-A6B2-7B3FC383C6D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3F29CE9A-0BB8-4179-A367-E1EB8055DBB2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E39B36-C6B0-4C48-99E1-7A5B820A470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99FFC-6F31-4CE1-B91F-5221729AB92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043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003">
          <p15:clr>
            <a:srgbClr val="547EBF"/>
          </p15:clr>
        </p15:guide>
        <p15:guide id="2" orient="horz" pos="262">
          <p15:clr>
            <a:srgbClr val="547EBF"/>
          </p15:clr>
        </p15:guide>
        <p15:guide id="3" orient="horz" pos="813">
          <p15:clr>
            <a:srgbClr val="547EBF"/>
          </p15:clr>
        </p15:guide>
        <p15:guide id="4" orient="horz" pos="1854">
          <p15:clr>
            <a:srgbClr val="547EBF"/>
          </p15:clr>
        </p15:guide>
        <p15:guide id="5" orient="horz" pos="2099">
          <p15:clr>
            <a:srgbClr val="547EBF"/>
          </p15:clr>
        </p15:guide>
        <p15:guide id="6" orient="horz" pos="2589">
          <p15:clr>
            <a:srgbClr val="547EBF"/>
          </p15:clr>
        </p15:guide>
        <p15:guide id="7" orient="horz" pos="2711">
          <p15:clr>
            <a:srgbClr val="547EBF"/>
          </p15:clr>
        </p15:guide>
        <p15:guide id="8" orient="horz" pos="3813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  <p15:guide id="11" pos="228">
          <p15:clr>
            <a:srgbClr val="547EBF"/>
          </p15:clr>
        </p15:guide>
        <p15:guide id="12" pos="2554">
          <p15:clr>
            <a:srgbClr val="547EBF"/>
          </p15:clr>
        </p15:guide>
        <p15:guide id="13" pos="2677">
          <p15:clr>
            <a:srgbClr val="547EBF"/>
          </p15:clr>
        </p15:guide>
        <p15:guide id="14" pos="5126">
          <p15:clr>
            <a:srgbClr val="547EBF"/>
          </p15:clr>
        </p15:guide>
        <p15:guide id="15" pos="7452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7905361-828B-4065-BD54-F5B2B537BD5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AD8CD4F-3BDF-469F-A938-BD3112BA1E7E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EE3D50A-1389-4284-8526-35FDED147FC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95F8B6B-1A53-4209-A6BC-C2AC293C563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019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3813">
          <p15:clr>
            <a:srgbClr val="547EBF"/>
          </p15:clr>
        </p15:guide>
        <p15:guide id="3" pos="1942">
          <p15:clr>
            <a:srgbClr val="547EBF"/>
          </p15:clr>
        </p15:guide>
        <p15:guide id="4" pos="2064">
          <p15:clr>
            <a:srgbClr val="547EBF"/>
          </p15:clr>
        </p15:guide>
        <p15:guide id="5" pos="3779">
          <p15:clr>
            <a:srgbClr val="547EBF"/>
          </p15:clr>
        </p15:guide>
        <p15:guide id="6" pos="3901">
          <p15:clr>
            <a:srgbClr val="547EBF"/>
          </p15:clr>
        </p15:guide>
        <p15:guide id="7" pos="5738">
          <p15:clr>
            <a:srgbClr val="547EBF"/>
          </p15:clr>
        </p15:guide>
        <p15:guide id="8" pos="5616">
          <p15:clr>
            <a:srgbClr val="547EBF"/>
          </p15:clr>
        </p15:guide>
        <p15:guide id="9" pos="7452">
          <p15:clr>
            <a:srgbClr val="547EBF"/>
          </p15:clr>
        </p15:guide>
        <p15:guide id="10" orient="horz" pos="139">
          <p15:clr>
            <a:srgbClr val="547EBF"/>
          </p15:clr>
        </p15:guide>
        <p15:guide id="11" orient="horz" pos="446">
          <p15:clr>
            <a:srgbClr val="547EBF"/>
          </p15:clr>
        </p15:guide>
        <p15:guide id="12" orient="horz" pos="629">
          <p15:clr>
            <a:srgbClr val="547EBF"/>
          </p15:clr>
        </p15:guide>
        <p15:guide id="13" orient="horz" pos="874">
          <p15:clr>
            <a:srgbClr val="547EBF"/>
          </p15:clr>
        </p15:guide>
        <p15:guide id="14" orient="horz" pos="3874">
          <p15:clr>
            <a:srgbClr val="547EBF"/>
          </p15:clr>
        </p15:guide>
        <p15:guide id="15" orient="horz" pos="3997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8B11BC-6CA3-44AD-A5CF-FFDACBB5C2A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26EF6C0-B03B-4536-B1A8-58EECCC37560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1F89D3-12CA-4686-94D2-CC317890BB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4C637D-CB79-4849-8B27-F6BEFF866F7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30787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7.xml"/><Relationship Id="rId21" Type="http://schemas.openxmlformats.org/officeDocument/2006/relationships/tags" Target="../tags/tag2.xml"/><Relationship Id="rId42" Type="http://schemas.openxmlformats.org/officeDocument/2006/relationships/tags" Target="../tags/tag23.xml"/><Relationship Id="rId47" Type="http://schemas.openxmlformats.org/officeDocument/2006/relationships/tags" Target="../tags/tag28.xml"/><Relationship Id="rId63" Type="http://schemas.openxmlformats.org/officeDocument/2006/relationships/tags" Target="../tags/tag44.xml"/><Relationship Id="rId68" Type="http://schemas.openxmlformats.org/officeDocument/2006/relationships/tags" Target="../tags/tag49.xml"/><Relationship Id="rId84" Type="http://schemas.openxmlformats.org/officeDocument/2006/relationships/tags" Target="../tags/tag65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53" Type="http://schemas.openxmlformats.org/officeDocument/2006/relationships/tags" Target="../tags/tag34.xml"/><Relationship Id="rId58" Type="http://schemas.openxmlformats.org/officeDocument/2006/relationships/tags" Target="../tags/tag39.xml"/><Relationship Id="rId74" Type="http://schemas.openxmlformats.org/officeDocument/2006/relationships/tags" Target="../tags/tag55.xml"/><Relationship Id="rId79" Type="http://schemas.openxmlformats.org/officeDocument/2006/relationships/tags" Target="../tags/tag60.xml"/><Relationship Id="rId5" Type="http://schemas.openxmlformats.org/officeDocument/2006/relationships/slideLayout" Target="../slideLayouts/slideLayout5.xml"/><Relationship Id="rId19" Type="http://schemas.openxmlformats.org/officeDocument/2006/relationships/customXml" Target="../../customXml/item1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tags" Target="../tags/tag24.xml"/><Relationship Id="rId48" Type="http://schemas.openxmlformats.org/officeDocument/2006/relationships/tags" Target="../tags/tag29.xml"/><Relationship Id="rId56" Type="http://schemas.openxmlformats.org/officeDocument/2006/relationships/tags" Target="../tags/tag37.xml"/><Relationship Id="rId64" Type="http://schemas.openxmlformats.org/officeDocument/2006/relationships/tags" Target="../tags/tag45.xml"/><Relationship Id="rId69" Type="http://schemas.openxmlformats.org/officeDocument/2006/relationships/tags" Target="../tags/tag50.xml"/><Relationship Id="rId77" Type="http://schemas.openxmlformats.org/officeDocument/2006/relationships/tags" Target="../tags/tag5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2.xml"/><Relationship Id="rId72" Type="http://schemas.openxmlformats.org/officeDocument/2006/relationships/tags" Target="../tags/tag53.xml"/><Relationship Id="rId80" Type="http://schemas.openxmlformats.org/officeDocument/2006/relationships/tags" Target="../tags/tag61.xml"/><Relationship Id="rId85" Type="http://schemas.openxmlformats.org/officeDocument/2006/relationships/tags" Target="../tags/tag66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Relationship Id="rId46" Type="http://schemas.openxmlformats.org/officeDocument/2006/relationships/tags" Target="../tags/tag27.xml"/><Relationship Id="rId59" Type="http://schemas.openxmlformats.org/officeDocument/2006/relationships/tags" Target="../tags/tag40.xml"/><Relationship Id="rId67" Type="http://schemas.openxmlformats.org/officeDocument/2006/relationships/tags" Target="../tags/tag48.xml"/><Relationship Id="rId20" Type="http://schemas.openxmlformats.org/officeDocument/2006/relationships/customXml" Target="../../customXml/item3.xml"/><Relationship Id="rId41" Type="http://schemas.openxmlformats.org/officeDocument/2006/relationships/tags" Target="../tags/tag22.xml"/><Relationship Id="rId54" Type="http://schemas.openxmlformats.org/officeDocument/2006/relationships/tags" Target="../tags/tag35.xml"/><Relationship Id="rId62" Type="http://schemas.openxmlformats.org/officeDocument/2006/relationships/tags" Target="../tags/tag43.xml"/><Relationship Id="rId70" Type="http://schemas.openxmlformats.org/officeDocument/2006/relationships/tags" Target="../tags/tag51.xml"/><Relationship Id="rId75" Type="http://schemas.openxmlformats.org/officeDocument/2006/relationships/tags" Target="../tags/tag56.xml"/><Relationship Id="rId83" Type="http://schemas.openxmlformats.org/officeDocument/2006/relationships/tags" Target="../tags/tag6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49" Type="http://schemas.openxmlformats.org/officeDocument/2006/relationships/tags" Target="../tags/tag30.xml"/><Relationship Id="rId57" Type="http://schemas.openxmlformats.org/officeDocument/2006/relationships/tags" Target="../tags/tag38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2.xml"/><Relationship Id="rId44" Type="http://schemas.openxmlformats.org/officeDocument/2006/relationships/tags" Target="../tags/tag25.xml"/><Relationship Id="rId52" Type="http://schemas.openxmlformats.org/officeDocument/2006/relationships/tags" Target="../tags/tag33.xml"/><Relationship Id="rId60" Type="http://schemas.openxmlformats.org/officeDocument/2006/relationships/tags" Target="../tags/tag41.xml"/><Relationship Id="rId65" Type="http://schemas.openxmlformats.org/officeDocument/2006/relationships/tags" Target="../tags/tag46.xml"/><Relationship Id="rId73" Type="http://schemas.openxmlformats.org/officeDocument/2006/relationships/tags" Target="../tags/tag54.xml"/><Relationship Id="rId78" Type="http://schemas.openxmlformats.org/officeDocument/2006/relationships/tags" Target="../tags/tag59.xml"/><Relationship Id="rId81" Type="http://schemas.openxmlformats.org/officeDocument/2006/relationships/tags" Target="../tags/tag62.xml"/><Relationship Id="rId86" Type="http://schemas.openxmlformats.org/officeDocument/2006/relationships/tags" Target="../tags/tag6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2.xml"/><Relationship Id="rId39" Type="http://schemas.openxmlformats.org/officeDocument/2006/relationships/tags" Target="../tags/tag20.xml"/><Relationship Id="rId34" Type="http://schemas.openxmlformats.org/officeDocument/2006/relationships/tags" Target="../tags/tag15.xml"/><Relationship Id="rId50" Type="http://schemas.openxmlformats.org/officeDocument/2006/relationships/tags" Target="../tags/tag31.xml"/><Relationship Id="rId55" Type="http://schemas.openxmlformats.org/officeDocument/2006/relationships/tags" Target="../tags/tag36.xml"/><Relationship Id="rId76" Type="http://schemas.openxmlformats.org/officeDocument/2006/relationships/tags" Target="../tags/tag57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2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0.xml"/><Relationship Id="rId24" Type="http://schemas.openxmlformats.org/officeDocument/2006/relationships/tags" Target="../tags/tag5.xml"/><Relationship Id="rId40" Type="http://schemas.openxmlformats.org/officeDocument/2006/relationships/tags" Target="../tags/tag21.xml"/><Relationship Id="rId45" Type="http://schemas.openxmlformats.org/officeDocument/2006/relationships/tags" Target="../tags/tag26.xml"/><Relationship Id="rId66" Type="http://schemas.openxmlformats.org/officeDocument/2006/relationships/tags" Target="../tags/tag47.xml"/><Relationship Id="rId61" Type="http://schemas.openxmlformats.org/officeDocument/2006/relationships/tags" Target="../tags/tag42.xml"/><Relationship Id="rId82" Type="http://schemas.openxmlformats.org/officeDocument/2006/relationships/tags" Target="../tags/tag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roup 166">
            <a:extLst>
              <a:ext uri="{FF2B5EF4-FFF2-40B4-BE49-F238E27FC236}">
                <a16:creationId xmlns:a16="http://schemas.microsoft.com/office/drawing/2014/main" id="{572B2565-927F-4932-9373-D7D8E15A4E8C}"/>
              </a:ext>
            </a:extLst>
          </p:cNvPr>
          <p:cNvGrpSpPr/>
          <p:nvPr/>
        </p:nvGrpSpPr>
        <p:grpSpPr>
          <a:xfrm>
            <a:off x="10178400" y="6351918"/>
            <a:ext cx="1652360" cy="335529"/>
            <a:chOff x="10178400" y="6351918"/>
            <a:chExt cx="1652360" cy="335529"/>
          </a:xfrm>
        </p:grpSpPr>
        <p:sp>
          <p:nvSpPr>
            <p:cNvPr id="168" name="Date Placeholder 8">
              <a:extLst>
                <a:ext uri="{FF2B5EF4-FFF2-40B4-BE49-F238E27FC236}">
                  <a16:creationId xmlns:a16="http://schemas.microsoft.com/office/drawing/2014/main" id="{B5509778-274E-47A0-951A-7B17BBB4C7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6/23</a:t>
              </a:fld>
              <a:endParaRPr lang="en-US" dirty="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D23D12B-DB16-4677-908E-00598AEF0389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FA02A48D-7353-4D91-8A7B-4B6BD6F22735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9C5FE24-D935-426F-8C83-DA8660816199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30044ABF-8FE1-44FD-B6CB-1CDFE350D1B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D00999B-5F53-4FF2-98C8-DD3B7F3B87B4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B3DE679C-70DC-4247-A294-21C563F73BFF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A45E461-ACC3-487C-920B-0B7B61EC5C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37518CC7-5E1D-4916-B45E-E937315439EF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ED4B97B2-9959-4CB2-950C-3D04E712929C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954DF21-2A16-4E3F-9529-FE504F1FB1CB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80B925A3-36A6-4FB0-AB5A-BDD011D7AF1A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0AD4E60C-96B1-43ED-91BD-35882064091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CC97373-6CF6-4275-B6E0-7E080C8FF6A3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A504D38F-D6EC-4BFF-8B28-4094B09B3971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>
            <p:custDataLst>
              <p:custData r:id="rId18"/>
              <p:custData r:id="rId19"/>
              <p:custData r:id="rId20"/>
              <p:tags r:id="rId21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2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7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8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9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0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1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2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3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4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5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6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3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6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7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8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9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0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1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2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3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4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5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6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7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8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9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0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1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2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3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4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5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6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7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8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9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0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1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2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3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4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5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6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7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8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9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0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1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2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3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4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>
            <p:custDataLst>
              <p:custData r:id="rId18"/>
              <p:custData r:id="rId19"/>
              <p:custData r:id="rId20"/>
              <p:tags r:id="rId2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5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hf hdr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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00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D4C503E-8F05-6C80-DF9E-9A3E4E1E118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A2760E95-9FE1-526F-6AA2-FDD652FA5D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i="1" dirty="0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7E42AF5A-3600-9DFD-7937-9CF846DD384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CC77677-AECE-B674-C96A-54C690FAD8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rinivasan </a:t>
            </a:r>
            <a:r>
              <a:rPr lang="en-US" dirty="0" err="1"/>
              <a:t>Sabapathy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A49BEE2-94FE-C0C2-E978-A5694C22014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4F46898-B99D-2169-AED4-9EF9C0183C5E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CE632D6-A1A9-355B-361E-A9BE443833B2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25D9599-D85C-4923-8E2F-F58377E52555}" type="datetime1">
              <a:rPr lang="en-US"/>
              <a:pPr/>
              <a:t>4/6/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7420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" y="3528863"/>
            <a:ext cx="6190061" cy="192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6" y="1565055"/>
            <a:ext cx="6157879" cy="16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646" y="2476206"/>
            <a:ext cx="6145353" cy="147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7"/>
            <a:ext cx="5830083" cy="5269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426" y="3884341"/>
            <a:ext cx="6275574" cy="16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Show &amp; Tell / Dem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0 Software AG. All rights reserved. For internal use only and for Software AG Partner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0718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623" y="3275437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3611" y="1211171"/>
            <a:ext cx="1848112" cy="206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0 Software AG. All rights reserved. For internal use only and for Software AG Partner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779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ore connector tes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DevO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74C089-FDD4-74B0-F08B-4905ED41F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9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B5E478-7A05-C86A-C43F-351B08FE5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83D92-EAD9-4928-8F5E-43D6C0BBDA8E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E5BE17-2264-AC90-180D-D0CE207B5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73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FF7AC6-E695-F790-D6F0-B9DC78B7DD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0052CE3-C31A-462E-AC43-500C58F68CA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/>
              <a:pPr/>
              <a:t>4/6/23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362034" y="1391985"/>
            <a:ext cx="11467266" cy="466115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b="1" dirty="0"/>
          </a:p>
          <a:p>
            <a:endParaRPr lang="en-GB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975" y="1766384"/>
            <a:ext cx="2681717" cy="268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58" y="2181860"/>
            <a:ext cx="4452172" cy="2767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728" y="2135569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18139E-BC2A-2F3E-4BB7-E94F4962CDE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1E9E07-6503-AB30-A012-B6210C042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7800"/>
            <a:ext cx="12192000" cy="4097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175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9" y="1387801"/>
            <a:ext cx="12032511" cy="373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677307"/>
            <a:ext cx="11468100" cy="208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9" y="1142151"/>
            <a:ext cx="11801772" cy="515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6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8044"/>
            <a:ext cx="6025813" cy="1052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Gw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06s4TYyvBPgOPDifRBx2gFAAAAAAADAAAAAAADAAAAAwADAAAAAAD///////8DAAAAAAD///////8DAAAAAAD///////8DAAAAAAD///////8DAAEA////////BAAAAAMAEAALPY26yFjSA0iGBKJwQmD3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06s4TYyvBPgOPDifRBx2gDRGF0YQAbAAAABExpbmtlZFNoYXBlRGF0YQAFAAAAAAACTmFtZQAZAAAATGlua2VkU2hhcGVzRGF0YVByb3BlcnR5ABBWZXJzaW9uAAAAAAAJTGFzdFdyaXRlAF8AnJSAAQAAAAEA/////8YAxgAAAAVfaWQAEAAAAAQ9jbrIWNIDSIYEonBCYPeiA0RhdGEAUwAAAAhQcmVzZW50YXRpb25TY2FubmVkRm9yTGlua2VkU2hhcGVzAAECTnVtYmVyRm9ybWF0U2VwYXJhdG9yTW9kZQAKAAAAQXV0b21hdGljAAACTmFtZQAkAAAATGlua2VkU2hhcGVQcmVzZW50YXRpb25TZXR0aW5nc0RhdGEAEFZlcnNpb24AAAAAAAlMYXN0V3JpdGUAmQCcl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e746a57e-2a84-4a0c-ae3d-5e0e53a112c1"/>
  <p:tag name="MIO_UPDATE" val="True"/>
  <p:tag name="MIO_DBID" val="0F45B44C-9BC7-4D85-81C4-7155EE70A7B9"/>
  <p:tag name="MIO_OBJECTNAME" val="Software AG - Starter Set"/>
  <p:tag name="MIO_FALLBACK_LAYOUT" val="5"/>
  <p:tag name="MIO_SHOW_DATE" val="Fals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16"/>
  <p:tag name="MIO_VERSION" val="24.06.2022 08:54:10"/>
  <p:tag name="MIO_LASTDOWNLOADED" val="11.07.2022 17:11:14.637"/>
  <p:tag name="MIO_CDID" val="9f882b0b-d1b4-48cb-bfe5-c5c56132e96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heme/theme1.xml><?xml version="1.0" encoding="utf-8"?>
<a:theme xmlns:a="http://schemas.openxmlformats.org/drawingml/2006/main" name="Software AG 2022">
  <a:themeElements>
    <a:clrScheme name="Software AG 2022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2">
      <a:majorFont>
        <a:latin typeface="Segoe UI"/>
        <a:ea typeface="Segoe UI"/>
        <a:cs typeface="Segoe UI"/>
      </a:majorFont>
      <a:minorFont>
        <a:latin typeface="Segoe UI"/>
        <a:ea typeface="Segoe UI"/>
        <a:cs typeface="Segoe UI"/>
      </a:minorFont>
    </a:fontScheme>
    <a:fmtScheme name="Software AG 2022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2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E6E9EC"/>
    </a:custClr>
    <a:custClr name="SAG45">
      <a:srgbClr val="F5EEFE"/>
    </a:custClr>
    <a:custClr name="SAG46">
      <a:srgbClr val="ECF9F8"/>
    </a:custClr>
    <a:custClr name="SAG47">
      <a:srgbClr val="FBFDE9"/>
    </a:custClr>
    <a:custClr name="SAG48">
      <a:srgbClr val="EBEAEF"/>
    </a:custClr>
    <a:custClr name="SAG49">
      <a:srgbClr val="E8EEF0"/>
    </a:custClr>
    <a:custClr name="SAG50">
      <a:srgbClr val="FCE9EE"/>
    </a:custClr>
  </a:custClrLst>
  <a:extLst>
    <a:ext uri="{05A4C25C-085E-4340-85A3-A5531E510DB2}">
      <thm15:themeFamily xmlns:thm15="http://schemas.microsoft.com/office/thememl/2012/main" name="SAG" id="{81A187F2-36E6-4147-B20D-BEB810E4824E}" vid="{670117A1-D6D8-AC43-BED2-B18680E650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79AD00-36D3-4A36-A440-1B8967C7A8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8F4BA1-82F4-4573-BC6D-9427A949496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8F007CB-4AC2-49F9-9F11-A3AE5E7EF1BA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e9ddd37-01c2-47a1-893c-5c0bdc1f6d39}" enabled="1" method="Privileged" siteId="{d9662eb9-ad98-4e74-a8a2-04ed5d544db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ftware AG 2022</Template>
  <TotalTime>7529</TotalTime>
  <Words>1066</Words>
  <Application>Microsoft Macintosh PowerPoint</Application>
  <PresentationFormat>Widescreen</PresentationFormat>
  <Paragraphs>256</Paragraphs>
  <Slides>19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arial</vt:lpstr>
      <vt:lpstr>Calibri</vt:lpstr>
      <vt:lpstr>Courier New</vt:lpstr>
      <vt:lpstr>Helvetica Neue</vt:lpstr>
      <vt:lpstr>Inter</vt:lpstr>
      <vt:lpstr>Segoe UI</vt:lpstr>
      <vt:lpstr>Symbol</vt:lpstr>
      <vt:lpstr>Wingdings</vt:lpstr>
      <vt:lpstr>Software AG 2022</vt:lpstr>
      <vt:lpstr>DevOps 4 webMethods.io</vt:lpstr>
      <vt:lpstr>DevOps 4 webMethods.io</vt:lpstr>
      <vt:lpstr>Requirement &amp; Benefits  </vt:lpstr>
      <vt:lpstr>Context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Show &amp; Tell / Demo</vt:lpstr>
      <vt:lpstr>Demo</vt:lpstr>
      <vt:lpstr>Demo</vt:lpstr>
      <vt:lpstr>What Next</vt:lpstr>
      <vt:lpstr>Next Ste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4 webMethods.io</dc:title>
  <dc:creator>Sabapathy, Srinivasan</dc:creator>
  <cp:lastModifiedBy>Sabapathy, Srinivasan</cp:lastModifiedBy>
  <cp:revision>30</cp:revision>
  <dcterms:created xsi:type="dcterms:W3CDTF">2023-02-04T12:12:00Z</dcterms:created>
  <dcterms:modified xsi:type="dcterms:W3CDTF">2023-04-18T10:1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Text">
    <vt:lpwstr>Classification: Internalㅤㅤㅤㅤ</vt:lpwstr>
  </property>
  <property fmtid="{D5CDD505-2E9C-101B-9397-08002B2CF9AE}" pid="3" name="TaxKeyword">
    <vt:lpwstr/>
  </property>
  <property fmtid="{D5CDD505-2E9C-101B-9397-08002B2CF9AE}" pid="4" name="ContentTypeId">
    <vt:lpwstr>0x010100C76A5F8EBBB9094588BD53A186E8CCF3</vt:lpwstr>
  </property>
</Properties>
</file>